
<file path=[Content_Types].xml><?xml version="1.0" encoding="utf-8"?>
<Types xmlns="http://schemas.openxmlformats.org/package/2006/content-types">
  <Default Extension="jpg" ContentType="image/jpeg"/>
  <Default Extension="emf" ContentType="image/x-emf"/>
  <Default Extension="png" ContentType="image/png"/>
  <Default Extension="fntdata" ContentType="application/x-fontdata"/>
  <Default Extension="xml" ContentType="application/xml"/>
  <Default Extension="vml" ContentType="application/vnd.openxmlformats-officedocument.vmlDrawing"/>
  <Default Extension="bin" ContentType="application/vnd.openxmlformats-officedocument.oleObject"/>
  <Default Extension="font" ContentType="application/x-fontdata"/>
  <Default Extension="rels" ContentType="application/vnd.openxmlformats-package.relationships+xml"/>
  <Default Extension="jpeg" ContentType="image/jpeg"/>
  <Override PartName="/ppt/slideLayouts/slideLayout1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bleStyles.xml" ContentType="application/vnd.openxmlformats-officedocument.presentationml.tableStyles+xml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slideMasters/slideMaster1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presentation.xml" ContentType="application/vnd.openxmlformats-officedocument.presentationml.presentation.main+xml"/>
  <Override PartName="/ppt/slideLayouts/slideLayout6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Masters/slideMaster2.xml" ContentType="application/vnd.openxmlformats-officedocument.presentationml.slideMaster+xml"/>
  <Override PartName="/ppt/slideLayouts/slideLayout20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3.xml" ContentType="application/vnd.openxmlformats-officedocument.presentationml.tags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1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p14="http://schemas.microsoft.com/office/powerpoint/2010/main" xmlns:mc="http://schemas.openxmlformats.org/markup-compatibility/2006" xmlns:c="http://schemas.openxmlformats.org/drawingml/2006/chart" xmlns:v="urn:schemas-microsoft-com:vml" xmlns:dsp="http://schemas.microsoft.com/office/drawing/2008/diagram" xmlns:dgm="http://schemas.openxmlformats.org/drawingml/2006/diagram" saveSubsetFonts="1" embedTrueTypeFonts="1">
  <p:sldMasterIdLst>
    <p:sldMasterId r:id="rId1" id="2147483660"/>
    <p:sldMasterId r:id="rId2" id="2147483758"/>
  </p:sldMasterIdLst>
  <p:notesMasterIdLst>
    <p:notesMasterId r:id="rId6"/>
  </p:notesMasterIdLst>
  <p:handoutMasterIdLst>
    <p:handoutMasterId r:id="rId7"/>
  </p:handoutMasterIdLst>
  <p:sldIdLst>
    <p:sldId r:id="rId3" id="956"/>
    <p:sldId r:id="rId4" id="957"/>
    <p:sldId r:id="rId5" id="958"/>
  </p:sldIdLst>
  <p:sldSz cx="12192000" cy="6858000"/>
  <p:notesSz cx="9942513" cy="6761163"/>
  <p:embeddedFontLst>
    <p:embeddedFont>
      <p:font typeface="WPS Special 1"/>
      <p:regular r:id="rId12"/>
    </p:embeddedFont>
  </p:embeddedFontLst>
  <p:defaultTextStyle>
    <a:defPPr>
      <a:defRPr lang="ru-RU"/>
    </a:defPPr>
    <a:lvl1pPr algn="l" marL="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1pPr>
    <a:lvl2pPr algn="l" marL="4572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2pPr>
    <a:lvl3pPr algn="l" marL="9144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3pPr>
    <a:lvl4pPr algn="l" marL="13716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4pPr>
    <a:lvl5pPr algn="l" marL="18288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5pPr>
    <a:lvl6pPr algn="l" marL="22860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6pPr>
    <a:lvl7pPr algn="l" marL="27432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7pPr>
    <a:lvl8pPr algn="l" marL="32004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8pPr>
    <a:lvl9pPr algn="l" marL="3657600" defTabSz="914400" eaLnBrk="1" latinLnBrk="0" hangingPunct="1" rtl="false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E7"/>
    <a:srgbClr val="006600"/>
    <a:srgbClr val="FFFF97"/>
    <a:srgbClr val="004200"/>
    <a:srgbClr val="FFFFCC"/>
    <a:srgbClr val="FFFFFF"/>
    <a:srgbClr val="FFFF66"/>
    <a:srgbClr val="FFFF99"/>
    <a:srgbClr val="E6E6E6"/>
    <a:srgbClr val="987A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75" autoAdjust="0"/>
    <p:restoredTop sz="89049" autoAdjust="0"/>
  </p:normalViewPr>
  <p:slideViewPr>
    <p:cSldViewPr snapToGrid="0" showGuides="1">
      <p:cViewPr>
        <p:scale>
          <a:sx n="75" d="100"/>
          <a:sy n="75" d="100"/>
        </p:scale>
        <p:origin x="-1133" y="-29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200"/>
    </p:cViewPr>
  </p:sorterViewPr>
  <p:gridSpacing cx="72008" cy="72008"/>
</p:viewPr>
</file>

<file path=ppt/_rels/presentation.xml.rels><?xml version="1.0" encoding="UTF-8" standalone="yes" ?><Relationships xmlns="http://schemas.openxmlformats.org/package/2006/relationships"><Relationship Id="rId8" Type="http://schemas.openxmlformats.org/officeDocument/2006/relationships/presProps" Target="presProps.xml" /><Relationship Id="rId7" Type="http://schemas.openxmlformats.org/officeDocument/2006/relationships/handoutMaster" Target="handoutMasters/handoutMaster1.xml" /><Relationship Id="rId2" Type="http://schemas.openxmlformats.org/officeDocument/2006/relationships/slideMaster" Target="slideMasters/slideMaster2.xml" /><Relationship Id="rId1" Type="http://schemas.openxmlformats.org/officeDocument/2006/relationships/slideMaster" Target="slideMasters/slideMaster1.xml" /><Relationship Id="rId6" Type="http://schemas.openxmlformats.org/officeDocument/2006/relationships/notesMaster" Target="notesMasters/notesMaster1.xml" /><Relationship Id="rId11" Type="http://schemas.openxmlformats.org/officeDocument/2006/relationships/tableStyles" Target="tableStyles.xml" /><Relationship Id="rId10" Type="http://schemas.openxmlformats.org/officeDocument/2006/relationships/theme" Target="theme/theme1.xml" /><Relationship Id="rId9" Type="http://schemas.openxmlformats.org/officeDocument/2006/relationships/viewProps" Target="viewProps.xml" /><Relationship Id="rId3" Type="http://schemas.openxmlformats.org/officeDocument/2006/relationships/slide" Target="slides/slide1.xml" /><Relationship Id="rId5" Type="http://schemas.openxmlformats.org/officeDocument/2006/relationships/slide" Target="slides/slide3.xml" /><Relationship Id="rId4" Type="http://schemas.openxmlformats.org/officeDocument/2006/relationships/slide" Target="slides/slide2.xml" /><Relationship Id="rId12" Type="http://schemas.openxmlformats.org/officeDocument/2006/relationships/font" Target="fonts/WPS_Specail_1.fntdata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4" y="7"/>
            <a:ext cx="4309431" cy="337950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30783" y="7"/>
            <a:ext cx="4309428" cy="337950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4C58D488-F5B3-405A-8E8E-120FA6DE6A52}" type="datetimeFigureOut">
              <a:rPr lang="ru-RU" smtClean="0"/>
              <a:pPr/>
              <a:t>22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4" y="6422144"/>
            <a:ext cx="4309431" cy="337950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30783" y="6422144"/>
            <a:ext cx="4309428" cy="337950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18D694FC-21DA-4FB5-8580-66EA71E99E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473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3" y="7"/>
            <a:ext cx="4309431" cy="337950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30783" y="7"/>
            <a:ext cx="4309428" cy="337950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BBFA6C56-2A64-4089-BAE3-4EA59C255D26}" type="datetimeFigureOut">
              <a:rPr lang="ru-RU" smtClean="0"/>
              <a:pPr/>
              <a:t>22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716213" y="508000"/>
            <a:ext cx="4510087" cy="2536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6" tIns="45637" rIns="91276" bIns="4563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4503" y="3211072"/>
            <a:ext cx="7953544" cy="3042632"/>
          </a:xfrm>
          <a:prstGeom prst="rect">
            <a:avLst/>
          </a:prstGeom>
        </p:spPr>
        <p:txBody>
          <a:bodyPr vert="horz" lIns="91276" tIns="45637" rIns="91276" bIns="4563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3" y="6422144"/>
            <a:ext cx="4309431" cy="337950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30783" y="6422144"/>
            <a:ext cx="4309428" cy="337950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692472F7-48B4-41CE-AC68-1E02AFB233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009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3AF8D-3FDE-46A5-852E-6C0661EAA1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7517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FEFCE-E81F-4034-A5DF-C960AA9C54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10762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E59AB-4512-4C8A-9F99-54DA07A262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98113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"/>
            <a:ext cx="12192000" cy="6874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4468" y="2729269"/>
            <a:ext cx="6714779" cy="482440"/>
          </a:xfrm>
          <a:prstGeom prst="rect">
            <a:avLst/>
          </a:prstGeom>
        </p:spPr>
        <p:txBody>
          <a:bodyPr lIns="91407" tIns="45705" rIns="91407" bIns="45705"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7226654" y="5223866"/>
            <a:ext cx="2384405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497" y="4407514"/>
            <a:ext cx="10362660" cy="599395"/>
          </a:xfrm>
          <a:prstGeom prst="rect">
            <a:avLst/>
          </a:prstGeom>
        </p:spPr>
        <p:txBody>
          <a:bodyPr lIns="91407" tIns="45705" rIns="91407" bIns="45705"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497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8815" indent="0">
              <a:buNone/>
              <a:defRPr sz="1800"/>
            </a:lvl2pPr>
            <a:lvl3pPr marL="917709" indent="0">
              <a:buNone/>
              <a:defRPr sz="1600"/>
            </a:lvl3pPr>
            <a:lvl4pPr marL="1376577" indent="0">
              <a:buNone/>
              <a:defRPr sz="1400"/>
            </a:lvl4pPr>
            <a:lvl5pPr marL="1835437" indent="0">
              <a:buNone/>
              <a:defRPr sz="1400"/>
            </a:lvl5pPr>
            <a:lvl6pPr marL="2294299" indent="0">
              <a:buNone/>
              <a:defRPr sz="1400"/>
            </a:lvl6pPr>
            <a:lvl7pPr marL="2753159" indent="0">
              <a:buNone/>
              <a:defRPr sz="1400"/>
            </a:lvl7pPr>
            <a:lvl8pPr marL="3212019" indent="0">
              <a:buNone/>
              <a:defRPr sz="1400"/>
            </a:lvl8pPr>
            <a:lvl9pPr marL="367087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976262" y="1990667"/>
            <a:ext cx="282284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06407" y="1990667"/>
            <a:ext cx="2822843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3868"/>
            <a:ext cx="10973880" cy="283411"/>
          </a:xfrm>
          <a:prstGeom prst="rect">
            <a:avLst/>
          </a:prstGeom>
        </p:spPr>
        <p:txBody>
          <a:bodyPr lIns="91407" tIns="45705" rIns="91407" bIns="45705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091" y="1535541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091" y="2175319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271" y="1535541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4271" y="2175319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6799"/>
            <a:ext cx="4010725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673" y="273746"/>
            <a:ext cx="6816289" cy="5852139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060" y="1435100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686A-82AE-4D37-A73D-BD8606A403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60515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8725" y="5069555"/>
            <a:ext cx="7315200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8725" y="612265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58815" indent="0">
              <a:buNone/>
              <a:defRPr sz="2900"/>
            </a:lvl2pPr>
            <a:lvl3pPr marL="917709" indent="0">
              <a:buNone/>
              <a:defRPr sz="2400"/>
            </a:lvl3pPr>
            <a:lvl4pPr marL="1376577" indent="0">
              <a:buNone/>
              <a:defRPr sz="2000"/>
            </a:lvl4pPr>
            <a:lvl5pPr marL="1835437" indent="0">
              <a:buNone/>
              <a:defRPr sz="2000"/>
            </a:lvl5pPr>
            <a:lvl6pPr marL="2294299" indent="0">
              <a:buNone/>
              <a:defRPr sz="2000"/>
            </a:lvl6pPr>
            <a:lvl7pPr marL="2753159" indent="0">
              <a:buNone/>
              <a:defRPr sz="2000"/>
            </a:lvl7pPr>
            <a:lvl8pPr marL="3212019" indent="0">
              <a:buNone/>
              <a:defRPr sz="2000"/>
            </a:lvl8pPr>
            <a:lvl9pPr marL="3670879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8725" y="5367836"/>
            <a:ext cx="7315200" cy="805015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21471" y="379021"/>
            <a:ext cx="370357" cy="2858851"/>
          </a:xfrm>
          <a:prstGeom prst="rect">
            <a:avLst/>
          </a:prstGeom>
        </p:spPr>
        <p:txBody>
          <a:bodyPr vert="eaVert"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1994" y="379021"/>
            <a:ext cx="6652145" cy="2858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0" y="1718550"/>
            <a:ext cx="8442609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61985" y="6614570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61985" y="6376148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1986" y="511725"/>
            <a:ext cx="9222292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879BE-5C38-4839-A9AE-DFFA73C9C2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071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659BC-D9C3-49C5-9748-8AFA72425F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6083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FEA2-06CB-4154-A894-1EC772999C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4618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DE324-4868-4088-A638-A4E23080D2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59251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467C1945-15D0-44C9-AD12-D71400502F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18569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AB486-5958-4AFE-8E5C-4530DEC822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41553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55FAA-BBF2-4E5C-92FC-B5D667F1E7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05328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FEB23-167B-43AF-A99E-02F0E16300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181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fade/>
  </p:transition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62219" y="3240"/>
            <a:ext cx="612347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792056"/>
            <a:ext cx="4973989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61985" y="6265172"/>
            <a:ext cx="11630453" cy="432472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783894" indent="-783894" defTabSz="898597" fontAlgn="base">
                <a:spcBef>
                  <a:spcPct val="0"/>
                </a:spcBef>
                <a:spcAft>
                  <a:spcPct val="0"/>
                </a:spcAft>
                <a:tabLst>
                  <a:tab pos="782296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976220" y="1158139"/>
            <a:ext cx="5801189" cy="510218"/>
            <a:chOff x="915" y="715"/>
            <a:chExt cx="2686" cy="315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45147" y="6598841"/>
            <a:ext cx="265655" cy="1554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109954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859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/>
          <a:srcRect t="11224" r="6099" b="7909"/>
          <a:stretch>
            <a:fillRect/>
          </a:stretch>
        </p:blipFill>
        <p:spPr bwMode="auto">
          <a:xfrm>
            <a:off x="9306545" y="93946"/>
            <a:ext cx="2760208" cy="513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61986" y="701388"/>
            <a:ext cx="11965221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61986" y="6731662"/>
            <a:ext cx="11965221" cy="43735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58815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17709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7657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3543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4381" indent="-192790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8815" indent="-26289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6594" indent="-15614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8833" indent="-130649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7699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6554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25425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84280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815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770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57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543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429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5315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1201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7087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1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495740"/>
              </p:ext>
            </p:extLst>
          </p:nvPr>
        </p:nvGraphicFramePr>
        <p:xfrm>
          <a:off x="995680" y="1556384"/>
          <a:ext cx="10952480" cy="504952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743200"/>
                <a:gridCol w="1544320"/>
                <a:gridCol w="2021840"/>
                <a:gridCol w="3058160"/>
                <a:gridCol w="1584960"/>
              </a:tblGrid>
              <a:tr h="254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Хозяйства с высокой зарплатой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ts val="1400"/>
                        </a:lnSpc>
                      </a:pPr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р. мес. зарплата, тыс. Р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 </a:t>
                      </a: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Хозяйства с низкой зарплатой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р. мес. зарплата, тыс. Р</a:t>
                      </a: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вруз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8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грыз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15,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Агрофирма-Агрыз"</a:t>
                      </a: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3,1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знакай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0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знакаев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23,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м.Х.Мустакимова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6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ксуАгро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2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ксубаев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20,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ксубай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6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няк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4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ктаныш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1,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Эконом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П Алексеевское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1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лексеевский  19,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АО "ВЗП Северное Алексеевское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3,3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Хузангаевское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7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лькеев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4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СК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алман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Первомайский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5,0</a:t>
                      </a:r>
                      <a:endParaRPr lang="ru-RU" sz="14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льметьев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8,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Березовка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,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СХП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ур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4,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пастов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17,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СХП Агро Актив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генче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5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рский  21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АПК 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шитбаш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7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ХПК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енгер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0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тн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5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усым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8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ерлек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3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авл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19,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иколашкино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7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ХПК "Кызыл 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юл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6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алтас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3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м.Тукая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9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ратлы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8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угульм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8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Колос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,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Умная ферма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8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у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0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Алан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8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ЖК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акулово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5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ерхнеусло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16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ерхнеуслонская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оватех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8,5</a:t>
                      </a:r>
                      <a:endParaRPr lang="ru-RU" sz="1400" b="1" i="0" u="none" strike="noStrike" kern="1200" dirty="0">
                        <a:solidFill>
                          <a:srgbClr val="0066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ысокогорский  23,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атмелиорация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Агро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6,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Цильна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2,4</a:t>
                      </a:r>
                      <a:endParaRPr lang="ru-RU" sz="1400" b="1" i="0" u="none" strike="noStrike" kern="1200" dirty="0">
                        <a:solidFill>
                          <a:srgbClr val="0066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рожжанов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0,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м.Дементьева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Светлая долина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0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Елабуж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19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Вятские зори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2,9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Нива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0,8</a:t>
                      </a:r>
                      <a:endParaRPr lang="ru-RU" sz="1400" b="1" i="0" u="none" strike="noStrike" kern="1200" dirty="0">
                        <a:solidFill>
                          <a:srgbClr val="0066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За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0,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Восток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7,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аевское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подворье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2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Зеленодоль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18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ВЗП "Заволжье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ТУГАН ЯК-АГРО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1,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айбиц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17,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Дубрава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6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1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овАгроТех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38,0</a:t>
                      </a:r>
                      <a:endParaRPr lang="ru-RU" sz="1400" b="1" i="0" u="none" strike="noStrike" kern="1200" dirty="0">
                        <a:solidFill>
                          <a:srgbClr val="0066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.Усть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16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уртасы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806824" y="1107444"/>
            <a:ext cx="11385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0070C0"/>
                </a:solidFill>
                <a:cs typeface="Arial" pitchFamily="34" charset="0"/>
              </a:rPr>
              <a:t>СРЕДНЕМЕСЯЧНАЯ ЗАРПЛАТА ПО СЕЛЬХОЗФОРМИРОВАНИЯМ ЗА 3 МЕСЯЦА 2020 Г.</a:t>
            </a:r>
            <a:endParaRPr lang="ru-RU" sz="2400" dirty="0">
              <a:solidFill>
                <a:srgbClr val="0070C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25273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806824" y="1107444"/>
            <a:ext cx="11385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0070C0"/>
                </a:solidFill>
                <a:cs typeface="Arial" pitchFamily="34" charset="0"/>
              </a:rPr>
              <a:t>СРЕДНЕМЕСЯЧНАЯ ЗАРПЛАТА ПО СЕЛЬХОЗФОРМИРОВАНИЯМ ЗА 3 МЕСЯЦА 2020 Г.</a:t>
            </a:r>
            <a:endParaRPr lang="ru-RU" sz="2400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2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844742"/>
              </p:ext>
            </p:extLst>
          </p:nvPr>
        </p:nvGraphicFramePr>
        <p:xfrm>
          <a:off x="995680" y="1576704"/>
          <a:ext cx="10952480" cy="504952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743200"/>
                <a:gridCol w="1544320"/>
                <a:gridCol w="2021840"/>
                <a:gridCol w="3058160"/>
                <a:gridCol w="1584960"/>
              </a:tblGrid>
              <a:tr h="2444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Хозяйства с высокой зарплатой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ts val="1400"/>
                        </a:lnSpc>
                      </a:pPr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р. мес. зарплата, тыс. Р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йон </a:t>
                      </a: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Хозяйства с низкой зарплатой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р. мес. зарплата, тыс. Р</a:t>
                      </a: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ХПК АФ "Рассвет"</a:t>
                      </a: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4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укмор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2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укморагрохимсервис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8,0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Волжская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8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Лаишев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4,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Агро-5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ф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Лениногорская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9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Лениногор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4,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Маркс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АПК 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одпрограмма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2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амадыш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1,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Омара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7,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Победа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1,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енделеевский  18,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 "Колхоз Кама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алмурзино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2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ензел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0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Заиковский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8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П ГКФХ Исламов И.З.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0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услюмов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4,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Родные края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9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Х 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икамский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0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ижнекамский  28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аМа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,3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Агро Основа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0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.Шешм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19,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ФХ Скоков Н.А.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Южная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7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урлат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1,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ИРС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3,9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Ак Барс-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естрецы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1,9</a:t>
                      </a:r>
                      <a:endParaRPr lang="ru-RU" sz="14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естреч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5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гролак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грокам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7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.Слобод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19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.Слободская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одкорп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.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6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СХП 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ырты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8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абинский  22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уюк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/Ф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арман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3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арманов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1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Ф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жалиль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8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Хузангаевское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2,0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пасский  18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О "Авангард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7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акрчи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0,7</a:t>
                      </a:r>
                      <a:endParaRPr lang="ru-RU" sz="14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етюш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3,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Нива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6,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ФХ ИП 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ильданов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9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укаев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4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Парадиз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9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генче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3,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юлячи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0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Чулпан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6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ио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Агро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1,8</a:t>
                      </a:r>
                      <a:endParaRPr lang="ru-RU" sz="14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Черемшан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0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утеминская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АФ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Чистопольская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2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Чистопольски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0,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Родник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,3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343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им. Тукая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9,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Ютазинский</a:t>
                      </a:r>
                      <a:r>
                        <a:rPr lang="ru-RU" sz="14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3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ОО "</a:t>
                      </a:r>
                      <a:r>
                        <a:rPr lang="ru-RU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ан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"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8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51935">
                <a:tc>
                  <a:txBody>
                    <a:bodyPr/>
                    <a:lstStyle/>
                    <a:p>
                      <a:pPr algn="l" rtl="0" fontAlgn="ctr"/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Т – 24,3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64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475" marR="64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76981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806824" y="883924"/>
            <a:ext cx="113851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0070C0"/>
                </a:solidFill>
                <a:cs typeface="Arial" pitchFamily="34" charset="0"/>
              </a:rPr>
              <a:t>ИНФОРМАЦИЯ ПО НАЛОГОВОЙ ЗАДОЛЖЕННОСТИ </a:t>
            </a:r>
          </a:p>
          <a:p>
            <a:pPr algn="ctr"/>
            <a:r>
              <a:rPr lang="ru-RU" sz="2400" dirty="0" smtClean="0">
                <a:solidFill>
                  <a:srgbClr val="0070C0"/>
                </a:solidFill>
                <a:cs typeface="Arial" pitchFamily="34" charset="0"/>
              </a:rPr>
              <a:t>В РАЗРЕЗЕ МУНИЦИПАЛЬНЫХ РАЙОНОВ РТ НА 01.04.2020 Г. </a:t>
            </a:r>
            <a:endParaRPr lang="ru-RU" sz="2400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3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2695646"/>
              </p:ext>
            </p:extLst>
          </p:nvPr>
        </p:nvGraphicFramePr>
        <p:xfrm>
          <a:off x="1229360" y="1753298"/>
          <a:ext cx="5069839" cy="493776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473027"/>
                <a:gridCol w="2769297"/>
                <a:gridCol w="827515"/>
              </a:tblGrid>
              <a:tr h="1837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Район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Ответственный </a:t>
                      </a:r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/>
                      </a:r>
                      <a:b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т исполнительного комитета 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МР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умма, </a:t>
                      </a:r>
                    </a:p>
                    <a:p>
                      <a:pPr algn="ctr" fontAlgn="ctr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млн</a:t>
                      </a:r>
                      <a:r>
                        <a:rPr lang="ru-RU" sz="1350" b="1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Р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390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Заин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Захарова М.И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83,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852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пастов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Гаффаров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Ш.Ш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67,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0830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Высокогор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фанасьев А.П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40,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852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Тукаев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Хабибуллин А.Ф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39,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21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Нижнекам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Беляев Р.И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33,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852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Пестречин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Штейн Э.А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25,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390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айбиц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Загидуллина Э.Х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20,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21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Буин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Валиулов А.Р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18,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21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Чистополь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Гиниятова Л.Ф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17,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Сабин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Багманов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М.М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15,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Дрожжанов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Измайлов И.Р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15,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283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.Устьин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Хабибуллова М.Х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15,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283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Муслюмов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Ильясов Р.А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12,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Лениногор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Иванова Г.А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11,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159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грыз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Гильмутдинова Р.Р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FF0000"/>
                          </a:solidFill>
                          <a:latin typeface="+mn-lt"/>
                          <a:cs typeface="Arial" pitchFamily="34" charset="0"/>
                        </a:rPr>
                        <a:t>11,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Тюлячин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Миннигулов И.А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8,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Елабуж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Никонов Т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6,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р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Набиуллин И.М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6,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Бугульмин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Булгаков М.Р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6,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Нурлат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Шамсутдинов Р.Р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5,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знакаев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Гурьянова Л.К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4,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Р.Слобод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Токранов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В.И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4,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022735"/>
              </p:ext>
            </p:extLst>
          </p:nvPr>
        </p:nvGraphicFramePr>
        <p:xfrm>
          <a:off x="6641652" y="1753298"/>
          <a:ext cx="5062669" cy="473202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470944"/>
                <a:gridCol w="2765380"/>
                <a:gridCol w="826345"/>
              </a:tblGrid>
              <a:tr h="1837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Район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Ответственный </a:t>
                      </a:r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/>
                      </a:r>
                      <a:b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т исполнительного комитета 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МР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умма, </a:t>
                      </a:r>
                    </a:p>
                    <a:p>
                      <a:pPr algn="ctr" fontAlgn="ctr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млн</a:t>
                      </a:r>
                      <a:r>
                        <a:rPr lang="ru-RU" sz="1350" b="1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Р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390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укмор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Гарифуллин А.Х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4,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852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Лаишев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Тябин В.Э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3,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0830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Зеленодоль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Старостин А.В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3,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852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Тетюш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Хисамова И.И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3,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21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льметьев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Шайдуллина З.Р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3,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852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ктаныш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Сираева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Л.Р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3,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390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Черемшан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глиуллин М.Х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2,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21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Балтасин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Галимуллин И.С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2,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211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Мамадыш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Никитин В.И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1,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Мензелин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Гатина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А.Г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1,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В.Услон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Маннапова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Н.Ю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1,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283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ксубаев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Муратшин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И.И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0,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283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лексеев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Васильев А.Д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0,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Бавлин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Галимов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Э.И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0,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159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Ютазин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Гибадуллина З.З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0,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лькеев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Балакирев С.Н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0,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Н.Шешмин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Исхакова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Л.Х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0,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Спас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Закирова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М.М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0,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Менделеев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олпаков О.Е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0,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Сармановский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Галимова Г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0,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Атнинский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аюмов</a:t>
                      </a:r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А.Ф.</a:t>
                      </a:r>
                    </a:p>
                  </a:txBody>
                  <a:tcPr marL="72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b="1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0,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33292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763</TotalTime>
  <Words>870</Words>
  <Application>Microsoft Office PowerPoint</Application>
  <PresentationFormat>Произвольный</PresentationFormat>
  <Paragraphs>370</Paragraphs>
  <Slides>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6" baseType="lpstr">
      <vt:lpstr>1_Тема Office</vt:lpstr>
      <vt:lpstr>16_Firm Format - Russian</vt:lpstr>
      <vt:lpstr>think-cell Slide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olopov</dc:creator>
  <cp:lastModifiedBy>Строева Катя</cp:lastModifiedBy>
  <cp:revision>6968</cp:revision>
  <cp:lastPrinted>2020-04-20T05:06:04Z</cp:lastPrinted>
  <dcterms:created xsi:type="dcterms:W3CDTF">2017-01-20T06:03:46Z</dcterms:created>
  <dcterms:modified xsi:type="dcterms:W3CDTF">2020-04-22T04:36:07Z</dcterms:modified>
</cp:coreProperties>
</file>